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6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82-4F7F-97AD-3DE2F42FF2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7307327"/>
        <c:axId val="567310207"/>
      </c:barChart>
      <c:catAx>
        <c:axId val="567307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310207"/>
        <c:crosses val="autoZero"/>
        <c:auto val="1"/>
        <c:lblAlgn val="ctr"/>
        <c:lblOffset val="100"/>
        <c:noMultiLvlLbl val="0"/>
      </c:catAx>
      <c:valAx>
        <c:axId val="5673102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3073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0CBC07-EC10-101C-DE95-2E5B613E7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3777E0-78EB-733B-DE2A-0822509B74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E42FF1-7A9A-0C75-1CB6-528CBF56FC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980957-E6A2-6661-0210-4D973E9F3C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568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91FC0E-2AB4-DBBF-3FB2-7113F054F9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A03396-4256-06B4-13D4-C761FCEA43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A03396-4256-06B4-13D4-C761FCEA4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36B63224-FD32-415E-5A8E-711C4D908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olumn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8CE161E-C009-10C9-41FE-6983C94BF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58887663-8DCD-1385-8F60-0B5EB5ACB4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6A6AC027-0C70-2523-D2B3-F7BB6C6D2F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6" name="Chart Placeholder 5">
            <a:extLst>
              <a:ext uri="{FF2B5EF4-FFF2-40B4-BE49-F238E27FC236}">
                <a16:creationId xmlns:a16="http://schemas.microsoft.com/office/drawing/2014/main" id="{56EC6232-452E-A58B-B024-A5D55B222B45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074DF52-D2B3-8F24-0188-B1261CAA32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B6A697BC-9A75-222C-6E8F-23C0B41EF9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4588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1</TotalTime>
  <Words>86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olumn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97</cp:revision>
  <dcterms:created xsi:type="dcterms:W3CDTF">2025-07-09T10:57:17Z</dcterms:created>
  <dcterms:modified xsi:type="dcterms:W3CDTF">2025-10-22T09:56:18Z</dcterms:modified>
  <cp:category/>
</cp:coreProperties>
</file>